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48" d="100"/>
          <a:sy n="48" d="100"/>
        </p:scale>
        <p:origin x="2736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24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8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1.emf"/><Relationship Id="rId5" Type="http://schemas.openxmlformats.org/officeDocument/2006/relationships/image" Target="../media/image9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4.emf"/><Relationship Id="rId5" Type="http://schemas.openxmlformats.org/officeDocument/2006/relationships/image" Target="../media/image12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18.emf"/><Relationship Id="rId5" Type="http://schemas.openxmlformats.org/officeDocument/2006/relationships/image" Target="../media/image15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19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0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0537976"/>
              </p:ext>
            </p:extLst>
          </p:nvPr>
        </p:nvGraphicFramePr>
        <p:xfrm>
          <a:off x="5962650" y="214313"/>
          <a:ext cx="598488" cy="796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7142" imgH="815453" progId="Excel.Sheet.12">
                  <p:link updateAutomatic="1"/>
                </p:oleObj>
              </mc:Choice>
              <mc:Fallback>
                <p:oleObj name="Worksheet" r:id="rId4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2650" y="214313"/>
                        <a:ext cx="598488" cy="796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5078166"/>
              </p:ext>
            </p:extLst>
          </p:nvPr>
        </p:nvGraphicFramePr>
        <p:xfrm>
          <a:off x="296863" y="1609725"/>
          <a:ext cx="6264275" cy="452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553142" imgH="4518773" progId="Excel.Sheet.12">
                  <p:link updateAutomatic="1"/>
                </p:oleObj>
              </mc:Choice>
              <mc:Fallback>
                <p:oleObj name="Worksheet" r:id="rId6" imgW="6553142" imgH="451877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6863" y="1609725"/>
                        <a:ext cx="6264275" cy="452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6804374"/>
              </p:ext>
            </p:extLst>
          </p:nvPr>
        </p:nvGraphicFramePr>
        <p:xfrm>
          <a:off x="3292475" y="1792288"/>
          <a:ext cx="2214563" cy="380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19475" imgH="3985239" progId="Excel.Sheet.12">
                  <p:link updateAutomatic="1"/>
                </p:oleObj>
              </mc:Choice>
              <mc:Fallback>
                <p:oleObj name="Worksheet" r:id="rId4" imgW="2819475" imgH="398523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92475" y="1792288"/>
                        <a:ext cx="2214563" cy="380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9407662"/>
              </p:ext>
            </p:extLst>
          </p:nvPr>
        </p:nvGraphicFramePr>
        <p:xfrm>
          <a:off x="836613" y="6137275"/>
          <a:ext cx="5186362" cy="210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5181438" imgH="2194467" progId="Excel.Sheet.12">
                  <p:link updateAutomatic="1"/>
                </p:oleObj>
              </mc:Choice>
              <mc:Fallback>
                <p:oleObj name="Worksheet" r:id="rId6" imgW="5181438" imgH="219446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36613" y="6137275"/>
                        <a:ext cx="5186362" cy="2101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9852610"/>
              </p:ext>
            </p:extLst>
          </p:nvPr>
        </p:nvGraphicFramePr>
        <p:xfrm>
          <a:off x="5972175" y="241300"/>
          <a:ext cx="552450" cy="739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2175" y="241300"/>
                        <a:ext cx="552450" cy="739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9924005"/>
              </p:ext>
            </p:extLst>
          </p:nvPr>
        </p:nvGraphicFramePr>
        <p:xfrm>
          <a:off x="1147763" y="1797050"/>
          <a:ext cx="2220912" cy="3538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19475" imgH="3710827" progId="Excel.Sheet.12">
                  <p:link updateAutomatic="1"/>
                </p:oleObj>
              </mc:Choice>
              <mc:Fallback>
                <p:oleObj name="Worksheet" r:id="rId10" imgW="2819475" imgH="37108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47763" y="1797050"/>
                        <a:ext cx="2220912" cy="35385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87523465"/>
              </p:ext>
            </p:extLst>
          </p:nvPr>
        </p:nvGraphicFramePr>
        <p:xfrm>
          <a:off x="2997200" y="1712913"/>
          <a:ext cx="2722563" cy="4430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19475" imgH="4427302" progId="Excel.Sheet.12">
                  <p:link updateAutomatic="1"/>
                </p:oleObj>
              </mc:Choice>
              <mc:Fallback>
                <p:oleObj name="Worksheet" r:id="rId4" imgW="2819475" imgH="442730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97200" y="1712913"/>
                        <a:ext cx="2722563" cy="4430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7935202"/>
              </p:ext>
            </p:extLst>
          </p:nvPr>
        </p:nvGraphicFramePr>
        <p:xfrm>
          <a:off x="1298575" y="6553200"/>
          <a:ext cx="4022725" cy="2095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305280" imgH="2240342" progId="Excel.Sheet.12">
                  <p:link updateAutomatic="1"/>
                </p:oleObj>
              </mc:Choice>
              <mc:Fallback>
                <p:oleObj name="Worksheet" r:id="rId6" imgW="4305280" imgH="224034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8575" y="6553200"/>
                        <a:ext cx="4022725" cy="2095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02405750"/>
              </p:ext>
            </p:extLst>
          </p:nvPr>
        </p:nvGraphicFramePr>
        <p:xfrm>
          <a:off x="5945188" y="252413"/>
          <a:ext cx="552450" cy="741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5188" y="252413"/>
                        <a:ext cx="552450" cy="7413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7204898"/>
              </p:ext>
            </p:extLst>
          </p:nvPr>
        </p:nvGraphicFramePr>
        <p:xfrm>
          <a:off x="788988" y="1712913"/>
          <a:ext cx="2722562" cy="4125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19475" imgH="4122307" progId="Excel.Sheet.12">
                  <p:link updateAutomatic="1"/>
                </p:oleObj>
              </mc:Choice>
              <mc:Fallback>
                <p:oleObj name="Worksheet" r:id="rId10" imgW="2819475" imgH="412230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88988" y="1712913"/>
                        <a:ext cx="2722562" cy="41259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3050148"/>
              </p:ext>
            </p:extLst>
          </p:nvPr>
        </p:nvGraphicFramePr>
        <p:xfrm>
          <a:off x="3319463" y="2032000"/>
          <a:ext cx="2693987" cy="3938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19475" imgH="4122307" progId="Excel.Sheet.12">
                  <p:link updateAutomatic="1"/>
                </p:oleObj>
              </mc:Choice>
              <mc:Fallback>
                <p:oleObj name="Worksheet" r:id="rId4" imgW="2819475" imgH="412230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19463" y="2032000"/>
                        <a:ext cx="2693987" cy="3938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29085365"/>
              </p:ext>
            </p:extLst>
          </p:nvPr>
        </p:nvGraphicFramePr>
        <p:xfrm>
          <a:off x="1343025" y="6600825"/>
          <a:ext cx="4171950" cy="1709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3299474" imgH="1341202" progId="Excel.Sheet.12">
                  <p:link updateAutomatic="1"/>
                </p:oleObj>
              </mc:Choice>
              <mc:Fallback>
                <p:oleObj name="Worksheet" r:id="rId6" imgW="3299474" imgH="134120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3025" y="6600825"/>
                        <a:ext cx="4171950" cy="17097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180035"/>
              </p:ext>
            </p:extLst>
          </p:nvPr>
        </p:nvGraphicFramePr>
        <p:xfrm>
          <a:off x="5953125" y="236538"/>
          <a:ext cx="576263" cy="782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3125" y="236538"/>
                        <a:ext cx="576263" cy="782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3628971"/>
              </p:ext>
            </p:extLst>
          </p:nvPr>
        </p:nvGraphicFramePr>
        <p:xfrm>
          <a:off x="669925" y="2028825"/>
          <a:ext cx="2692400" cy="3546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19475" imgH="3710827" progId="Excel.Sheet.12">
                  <p:link updateAutomatic="1"/>
                </p:oleObj>
              </mc:Choice>
              <mc:Fallback>
                <p:oleObj name="Worksheet" r:id="rId10" imgW="2819475" imgH="37108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69925" y="2028825"/>
                        <a:ext cx="2692400" cy="3546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7451044"/>
              </p:ext>
            </p:extLst>
          </p:nvPr>
        </p:nvGraphicFramePr>
        <p:xfrm>
          <a:off x="3160713" y="1389063"/>
          <a:ext cx="3084512" cy="5072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230903" imgH="4968343" progId="Excel.Sheet.12">
                  <p:link updateAutomatic="1"/>
                </p:oleObj>
              </mc:Choice>
              <mc:Fallback>
                <p:oleObj name="Worksheet" r:id="rId4" imgW="3230903" imgH="496834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60713" y="1389063"/>
                        <a:ext cx="3084512" cy="5072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4644526"/>
              </p:ext>
            </p:extLst>
          </p:nvPr>
        </p:nvGraphicFramePr>
        <p:xfrm>
          <a:off x="1490663" y="6816725"/>
          <a:ext cx="3660775" cy="1865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5410194" imgH="2583149" progId="Excel.Sheet.12">
                  <p:link updateAutomatic="1"/>
                </p:oleObj>
              </mc:Choice>
              <mc:Fallback>
                <p:oleObj name="Worksheet" r:id="rId6" imgW="5410194" imgH="258314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0663" y="6816725"/>
                        <a:ext cx="3660775" cy="1865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9058737"/>
              </p:ext>
            </p:extLst>
          </p:nvPr>
        </p:nvGraphicFramePr>
        <p:xfrm>
          <a:off x="5948363" y="227013"/>
          <a:ext cx="585787" cy="782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8363" y="227013"/>
                        <a:ext cx="585787" cy="782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0371805"/>
              </p:ext>
            </p:extLst>
          </p:nvPr>
        </p:nvGraphicFramePr>
        <p:xfrm>
          <a:off x="284163" y="1392238"/>
          <a:ext cx="3079750" cy="4418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230903" imgH="4328047" progId="Excel.Sheet.12">
                  <p:link updateAutomatic="1"/>
                </p:oleObj>
              </mc:Choice>
              <mc:Fallback>
                <p:oleObj name="Worksheet" r:id="rId10" imgW="3230903" imgH="432804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84163" y="1392238"/>
                        <a:ext cx="3079750" cy="4418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6935389"/>
              </p:ext>
            </p:extLst>
          </p:nvPr>
        </p:nvGraphicFramePr>
        <p:xfrm>
          <a:off x="700088" y="2667000"/>
          <a:ext cx="5962650" cy="299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686904" imgH="4023329" progId="Excel.Sheet.12">
                  <p:link updateAutomatic="1"/>
                </p:oleObj>
              </mc:Choice>
              <mc:Fallback>
                <p:oleObj name="Worksheet" r:id="rId4" imgW="8686904" imgH="402332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00088" y="2667000"/>
                        <a:ext cx="5962650" cy="29956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2543291"/>
              </p:ext>
            </p:extLst>
          </p:nvPr>
        </p:nvGraphicFramePr>
        <p:xfrm>
          <a:off x="5948363" y="239713"/>
          <a:ext cx="566737" cy="757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7142" imgH="815453" progId="Excel.Sheet.12">
                  <p:link updateAutomatic="1"/>
                </p:oleObj>
              </mc:Choice>
              <mc:Fallback>
                <p:oleObj name="Worksheet" r:id="rId6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8363" y="239713"/>
                        <a:ext cx="566737" cy="757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8883996"/>
              </p:ext>
            </p:extLst>
          </p:nvPr>
        </p:nvGraphicFramePr>
        <p:xfrm>
          <a:off x="5972175" y="233363"/>
          <a:ext cx="563563" cy="75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7142" imgH="815453" progId="Excel.Sheet.12">
                  <p:link updateAutomatic="1"/>
                </p:oleObj>
              </mc:Choice>
              <mc:Fallback>
                <p:oleObj name="Worksheet" r:id="rId4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2175" y="233363"/>
                        <a:ext cx="563563" cy="755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5048473"/>
              </p:ext>
            </p:extLst>
          </p:nvPr>
        </p:nvGraphicFramePr>
        <p:xfrm>
          <a:off x="846138" y="2571750"/>
          <a:ext cx="5164137" cy="3817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427153" imgH="3025212" progId="Excel.Sheet.12">
                  <p:link updateAutomatic="1"/>
                </p:oleObj>
              </mc:Choice>
              <mc:Fallback>
                <p:oleObj name="Worksheet" r:id="rId4" imgW="4427153" imgH="30252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46138" y="2571750"/>
                        <a:ext cx="5164137" cy="3817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3162379"/>
              </p:ext>
            </p:extLst>
          </p:nvPr>
        </p:nvGraphicFramePr>
        <p:xfrm>
          <a:off x="5967413" y="239713"/>
          <a:ext cx="576262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7142" imgH="815453" progId="Excel.Sheet.12">
                  <p:link updateAutomatic="1"/>
                </p:oleObj>
              </mc:Choice>
              <mc:Fallback>
                <p:oleObj name="Worksheet" r:id="rId6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7413" y="239713"/>
                        <a:ext cx="576262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9503857"/>
              </p:ext>
            </p:extLst>
          </p:nvPr>
        </p:nvGraphicFramePr>
        <p:xfrm>
          <a:off x="1068388" y="1744663"/>
          <a:ext cx="4724400" cy="5532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297784" imgH="4671132" progId="Excel.Sheet.12">
                  <p:link updateAutomatic="1"/>
                </p:oleObj>
              </mc:Choice>
              <mc:Fallback>
                <p:oleObj name="Worksheet" r:id="rId7" imgW="4297784" imgH="467113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68388" y="1744663"/>
                        <a:ext cx="4724400" cy="55324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9106017"/>
              </p:ext>
            </p:extLst>
          </p:nvPr>
        </p:nvGraphicFramePr>
        <p:xfrm>
          <a:off x="5957888" y="239713"/>
          <a:ext cx="581025" cy="776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7142" imgH="815453" progId="Excel.Sheet.12">
                  <p:link updateAutomatic="1"/>
                </p:oleObj>
              </mc:Choice>
              <mc:Fallback>
                <p:oleObj name="Worksheet" r:id="rId9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7888" y="239713"/>
                        <a:ext cx="581025" cy="776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57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7</cp:revision>
  <cp:lastPrinted>2018-03-07T08:57:35Z</cp:lastPrinted>
  <dcterms:created xsi:type="dcterms:W3CDTF">2018-02-28T14:59:25Z</dcterms:created>
  <dcterms:modified xsi:type="dcterms:W3CDTF">2025-10-24T06:24:42Z</dcterms:modified>
</cp:coreProperties>
</file>